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8" r:id="rId2"/>
  </p:sldIdLst>
  <p:sldSz cx="10693400" cy="7556500"/>
  <p:notesSz cx="6858000" cy="9144000"/>
  <p:embeddedFontLst>
    <p:embeddedFont>
      <p:font typeface="Plus Jakarta Sans" pitchFamily="2" charset="0"/>
      <p:regular r:id="rId3"/>
      <p:bold r:id="rId4"/>
      <p:italic r:id="rId5"/>
      <p:boldItalic r:id="rId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FFFEF8"/>
    <a:srgbClr val="EC95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622" autoAdjust="0"/>
  </p:normalViewPr>
  <p:slideViewPr>
    <p:cSldViewPr>
      <p:cViewPr>
        <p:scale>
          <a:sx n="66" d="100"/>
          <a:sy n="66" d="100"/>
        </p:scale>
        <p:origin x="1818" y="81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font" Target="fonts/font1.fntdata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5" Type="http://schemas.openxmlformats.org/officeDocument/2006/relationships/font" Target="fonts/font3.fntdata"/><Relationship Id="rId10" Type="http://schemas.openxmlformats.org/officeDocument/2006/relationships/tableStyles" Target="tableStyles.xml"/><Relationship Id="rId4" Type="http://schemas.openxmlformats.org/officeDocument/2006/relationships/font" Target="fonts/font2.fntdata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E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761A0643-A771-395B-4E62-05147B292CB3}"/>
              </a:ext>
            </a:extLst>
          </p:cNvPr>
          <p:cNvGrpSpPr/>
          <p:nvPr/>
        </p:nvGrpSpPr>
        <p:grpSpPr>
          <a:xfrm>
            <a:off x="307249" y="322858"/>
            <a:ext cx="10255070" cy="6926060"/>
            <a:chOff x="307249" y="322858"/>
            <a:chExt cx="10255070" cy="6926060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AF846043-480C-96C1-422B-590E4B689DFA}"/>
                </a:ext>
              </a:extLst>
            </p:cNvPr>
            <p:cNvGrpSpPr/>
            <p:nvPr/>
          </p:nvGrpSpPr>
          <p:grpSpPr>
            <a:xfrm>
              <a:off x="307249" y="844371"/>
              <a:ext cx="10078903" cy="6404547"/>
              <a:chOff x="307249" y="844371"/>
              <a:chExt cx="10078903" cy="6404547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C55B37BF-A4DD-3818-7EA1-85056016426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7249" y="844371"/>
                <a:ext cx="10078903" cy="6404547"/>
              </a:xfrm>
              <a:prstGeom prst="rect">
                <a:avLst/>
              </a:prstGeom>
              <a:solidFill>
                <a:srgbClr val="FFFEF8"/>
              </a:solidFill>
              <a:ln w="9525">
                <a:solidFill>
                  <a:srgbClr val="D9D9D9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8E65F723-E407-448D-4C90-BD4BEE75D092}"/>
                  </a:ext>
                </a:extLst>
              </p:cNvPr>
              <p:cNvGrpSpPr/>
              <p:nvPr/>
            </p:nvGrpSpPr>
            <p:grpSpPr>
              <a:xfrm>
                <a:off x="769452" y="844371"/>
                <a:ext cx="9154500" cy="6404547"/>
                <a:chOff x="769452" y="844371"/>
                <a:chExt cx="9154500" cy="6404547"/>
              </a:xfrm>
            </p:grpSpPr>
            <p:sp>
              <p:nvSpPr>
                <p:cNvPr id="3" name="AutoShape 3"/>
                <p:cNvSpPr/>
                <p:nvPr/>
              </p:nvSpPr>
              <p:spPr>
                <a:xfrm>
                  <a:off x="769452" y="844371"/>
                  <a:ext cx="0" cy="6404547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" name="AutoShape 4"/>
                <p:cNvSpPr/>
                <p:nvPr/>
              </p:nvSpPr>
              <p:spPr>
                <a:xfrm>
                  <a:off x="1684902" y="844371"/>
                  <a:ext cx="0" cy="6404547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" name="AutoShape 5"/>
                <p:cNvSpPr/>
                <p:nvPr/>
              </p:nvSpPr>
              <p:spPr>
                <a:xfrm>
                  <a:off x="2600352" y="844371"/>
                  <a:ext cx="0" cy="6404547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" name="AutoShape 6"/>
                <p:cNvSpPr/>
                <p:nvPr/>
              </p:nvSpPr>
              <p:spPr>
                <a:xfrm>
                  <a:off x="3515802" y="844371"/>
                  <a:ext cx="0" cy="6404547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" name="AutoShape 7"/>
                <p:cNvSpPr/>
                <p:nvPr/>
              </p:nvSpPr>
              <p:spPr>
                <a:xfrm>
                  <a:off x="4431252" y="844371"/>
                  <a:ext cx="0" cy="6404547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8" name="AutoShape 8"/>
                <p:cNvSpPr/>
                <p:nvPr/>
              </p:nvSpPr>
              <p:spPr>
                <a:xfrm>
                  <a:off x="5346702" y="844371"/>
                  <a:ext cx="0" cy="6404547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9" name="AutoShape 9"/>
                <p:cNvSpPr/>
                <p:nvPr/>
              </p:nvSpPr>
              <p:spPr>
                <a:xfrm>
                  <a:off x="6262152" y="844371"/>
                  <a:ext cx="0" cy="6404547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" name="AutoShape 10"/>
                <p:cNvSpPr/>
                <p:nvPr/>
              </p:nvSpPr>
              <p:spPr>
                <a:xfrm>
                  <a:off x="7177602" y="844371"/>
                  <a:ext cx="0" cy="6404547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1" name="AutoShape 11"/>
                <p:cNvSpPr/>
                <p:nvPr/>
              </p:nvSpPr>
              <p:spPr>
                <a:xfrm>
                  <a:off x="8093052" y="844371"/>
                  <a:ext cx="0" cy="6404547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" name="AutoShape 12"/>
                <p:cNvSpPr/>
                <p:nvPr/>
              </p:nvSpPr>
              <p:spPr>
                <a:xfrm>
                  <a:off x="9008502" y="844371"/>
                  <a:ext cx="0" cy="6404547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3" name="AutoShape 13"/>
                <p:cNvSpPr/>
                <p:nvPr/>
              </p:nvSpPr>
              <p:spPr>
                <a:xfrm>
                  <a:off x="9923952" y="844371"/>
                  <a:ext cx="0" cy="6404547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4" name="AutoShape 14"/>
                <p:cNvSpPr/>
                <p:nvPr/>
              </p:nvSpPr>
              <p:spPr>
                <a:xfrm flipH="1">
                  <a:off x="1227177" y="844371"/>
                  <a:ext cx="0" cy="6404547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5" name="AutoShape 15"/>
                <p:cNvSpPr/>
                <p:nvPr/>
              </p:nvSpPr>
              <p:spPr>
                <a:xfrm flipH="1">
                  <a:off x="2142627" y="844371"/>
                  <a:ext cx="0" cy="6404547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6" name="AutoShape 16"/>
                <p:cNvSpPr/>
                <p:nvPr/>
              </p:nvSpPr>
              <p:spPr>
                <a:xfrm>
                  <a:off x="3973527" y="844371"/>
                  <a:ext cx="0" cy="6404547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" name="AutoShape 17"/>
                <p:cNvSpPr/>
                <p:nvPr/>
              </p:nvSpPr>
              <p:spPr>
                <a:xfrm>
                  <a:off x="3058077" y="844371"/>
                  <a:ext cx="0" cy="6404547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" name="AutoShape 18"/>
                <p:cNvSpPr/>
                <p:nvPr/>
              </p:nvSpPr>
              <p:spPr>
                <a:xfrm>
                  <a:off x="4888977" y="844371"/>
                  <a:ext cx="0" cy="6404547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" name="AutoShape 19"/>
                <p:cNvSpPr/>
                <p:nvPr/>
              </p:nvSpPr>
              <p:spPr>
                <a:xfrm>
                  <a:off x="5804427" y="844371"/>
                  <a:ext cx="0" cy="6404547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" name="AutoShape 20"/>
                <p:cNvSpPr/>
                <p:nvPr/>
              </p:nvSpPr>
              <p:spPr>
                <a:xfrm>
                  <a:off x="6719877" y="844371"/>
                  <a:ext cx="0" cy="6404547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" name="AutoShape 21"/>
                <p:cNvSpPr/>
                <p:nvPr/>
              </p:nvSpPr>
              <p:spPr>
                <a:xfrm flipH="1">
                  <a:off x="7635327" y="844371"/>
                  <a:ext cx="0" cy="6404547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" name="AutoShape 22"/>
                <p:cNvSpPr/>
                <p:nvPr/>
              </p:nvSpPr>
              <p:spPr>
                <a:xfrm flipH="1">
                  <a:off x="9466227" y="844371"/>
                  <a:ext cx="0" cy="6404547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" name="AutoShape 23"/>
                <p:cNvSpPr/>
                <p:nvPr/>
              </p:nvSpPr>
              <p:spPr>
                <a:xfrm flipH="1">
                  <a:off x="8550777" y="844371"/>
                  <a:ext cx="0" cy="6404547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2570BBE1-B58B-29FE-4CCE-0BFC61337AC7}"/>
                  </a:ext>
                </a:extLst>
              </p:cNvPr>
              <p:cNvGrpSpPr/>
              <p:nvPr/>
            </p:nvGrpSpPr>
            <p:grpSpPr>
              <a:xfrm>
                <a:off x="307249" y="1303539"/>
                <a:ext cx="10078903" cy="5486208"/>
                <a:chOff x="307249" y="1303539"/>
                <a:chExt cx="10078903" cy="5486208"/>
              </a:xfrm>
            </p:grpSpPr>
            <p:sp>
              <p:nvSpPr>
                <p:cNvPr id="26" name="AutoShape 26"/>
                <p:cNvSpPr/>
                <p:nvPr/>
              </p:nvSpPr>
              <p:spPr>
                <a:xfrm>
                  <a:off x="307249" y="1760723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7" name="AutoShape 27"/>
                <p:cNvSpPr/>
                <p:nvPr/>
              </p:nvSpPr>
              <p:spPr>
                <a:xfrm>
                  <a:off x="307249" y="1303539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8" name="AutoShape 28"/>
                <p:cNvSpPr/>
                <p:nvPr/>
              </p:nvSpPr>
              <p:spPr>
                <a:xfrm>
                  <a:off x="307249" y="2217907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9" name="AutoShape 29"/>
                <p:cNvSpPr/>
                <p:nvPr/>
              </p:nvSpPr>
              <p:spPr>
                <a:xfrm>
                  <a:off x="307249" y="3132275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0" name="AutoShape 30"/>
                <p:cNvSpPr/>
                <p:nvPr/>
              </p:nvSpPr>
              <p:spPr>
                <a:xfrm>
                  <a:off x="307249" y="4046643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1" name="AutoShape 31"/>
                <p:cNvSpPr/>
                <p:nvPr/>
              </p:nvSpPr>
              <p:spPr>
                <a:xfrm>
                  <a:off x="307249" y="4961011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2" name="AutoShape 32"/>
                <p:cNvSpPr/>
                <p:nvPr/>
              </p:nvSpPr>
              <p:spPr>
                <a:xfrm>
                  <a:off x="307249" y="5875379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3" name="AutoShape 33"/>
                <p:cNvSpPr/>
                <p:nvPr/>
              </p:nvSpPr>
              <p:spPr>
                <a:xfrm>
                  <a:off x="307249" y="6789747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" name="AutoShape 34"/>
                <p:cNvSpPr/>
                <p:nvPr/>
              </p:nvSpPr>
              <p:spPr>
                <a:xfrm>
                  <a:off x="307249" y="2675091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5" name="AutoShape 35"/>
                <p:cNvSpPr/>
                <p:nvPr/>
              </p:nvSpPr>
              <p:spPr>
                <a:xfrm>
                  <a:off x="307249" y="3589459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6" name="AutoShape 36"/>
                <p:cNvSpPr/>
                <p:nvPr/>
              </p:nvSpPr>
              <p:spPr>
                <a:xfrm>
                  <a:off x="307249" y="4503827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7" name="AutoShape 37"/>
                <p:cNvSpPr/>
                <p:nvPr/>
              </p:nvSpPr>
              <p:spPr>
                <a:xfrm>
                  <a:off x="307249" y="5418195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" name="AutoShape 38"/>
                <p:cNvSpPr/>
                <p:nvPr/>
              </p:nvSpPr>
              <p:spPr>
                <a:xfrm>
                  <a:off x="307249" y="6332563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D9D9D9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5800F926-FE1E-E085-DBE8-2A855928D7E3}"/>
                </a:ext>
              </a:extLst>
            </p:cNvPr>
            <p:cNvGrpSpPr/>
            <p:nvPr/>
          </p:nvGrpSpPr>
          <p:grpSpPr>
            <a:xfrm>
              <a:off x="316972" y="322858"/>
              <a:ext cx="9580498" cy="260777"/>
              <a:chOff x="316972" y="322858"/>
              <a:chExt cx="9580498" cy="260777"/>
            </a:xfrm>
          </p:grpSpPr>
          <p:sp>
            <p:nvSpPr>
              <p:cNvPr id="46" name="TextBox 23">
                <a:extLst>
                  <a:ext uri="{FF2B5EF4-FFF2-40B4-BE49-F238E27FC236}">
                    <a16:creationId xmlns:a16="http://schemas.microsoft.com/office/drawing/2014/main" id="{51A447CC-26ED-C675-968B-8FA270704BB9}"/>
                  </a:ext>
                </a:extLst>
              </p:cNvPr>
              <p:cNvSpPr txBox="1"/>
              <p:nvPr/>
            </p:nvSpPr>
            <p:spPr>
              <a:xfrm>
                <a:off x="316972" y="322858"/>
                <a:ext cx="2881809" cy="26077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l">
                  <a:lnSpc>
                    <a:spcPts val="2175"/>
                  </a:lnSpc>
                  <a:spcBef>
                    <a:spcPct val="0"/>
                  </a:spcBef>
                </a:pPr>
                <a:r>
                  <a:rPr lang="en-US" b="1" dirty="0">
                    <a:solidFill>
                      <a:srgbClr val="707070"/>
                    </a:solidFill>
                    <a:latin typeface="Plus Jakarta Sans" pitchFamily="2" charset="0"/>
                    <a:cs typeface="Plus Jakarta Sans" pitchFamily="2" charset="0"/>
                  </a:rPr>
                  <a:t>0.5 INCH GRAPH PAPER</a:t>
                </a:r>
              </a:p>
            </p:txBody>
          </p:sp>
          <p:sp>
            <p:nvSpPr>
              <p:cNvPr id="47" name="TextBox 25">
                <a:extLst>
                  <a:ext uri="{FF2B5EF4-FFF2-40B4-BE49-F238E27FC236}">
                    <a16:creationId xmlns:a16="http://schemas.microsoft.com/office/drawing/2014/main" id="{14E2694C-78CB-1917-DF50-1CA43C73E68B}"/>
                  </a:ext>
                </a:extLst>
              </p:cNvPr>
              <p:cNvSpPr txBox="1"/>
              <p:nvPr/>
            </p:nvSpPr>
            <p:spPr>
              <a:xfrm>
                <a:off x="8537947" y="434773"/>
                <a:ext cx="297646" cy="14254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l">
                  <a:lnSpc>
                    <a:spcPts val="1199"/>
                  </a:lnSpc>
                  <a:spcBef>
                    <a:spcPct val="0"/>
                  </a:spcBef>
                </a:pPr>
                <a:r>
                  <a:rPr lang="en-US" sz="999" b="1">
                    <a:solidFill>
                      <a:srgbClr val="707070"/>
                    </a:solidFill>
                    <a:latin typeface="Plus Jakarta Sans" pitchFamily="2" charset="0"/>
                    <a:cs typeface="Plus Jakarta Sans" pitchFamily="2" charset="0"/>
                  </a:rPr>
                  <a:t>Date</a:t>
                </a:r>
              </a:p>
            </p:txBody>
          </p:sp>
          <p:sp>
            <p:nvSpPr>
              <p:cNvPr id="48" name="TextBox 26">
                <a:extLst>
                  <a:ext uri="{FF2B5EF4-FFF2-40B4-BE49-F238E27FC236}">
                    <a16:creationId xmlns:a16="http://schemas.microsoft.com/office/drawing/2014/main" id="{5B8CC2AA-91FF-DB2D-96DB-7A71ED700F32}"/>
                  </a:ext>
                </a:extLst>
              </p:cNvPr>
              <p:cNvSpPr txBox="1"/>
              <p:nvPr/>
            </p:nvSpPr>
            <p:spPr>
              <a:xfrm>
                <a:off x="9302206" y="434773"/>
                <a:ext cx="64324" cy="14254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199"/>
                  </a:lnSpc>
                  <a:spcBef>
                    <a:spcPct val="0"/>
                  </a:spcBef>
                </a:pPr>
                <a:r>
                  <a:rPr lang="en-US" sz="999" b="1">
                    <a:solidFill>
                      <a:srgbClr val="707070"/>
                    </a:solidFill>
                    <a:latin typeface="Plus Jakarta Sans" pitchFamily="2" charset="0"/>
                    <a:cs typeface="Plus Jakarta Sans" pitchFamily="2" charset="0"/>
                  </a:rPr>
                  <a:t>/</a:t>
                </a:r>
              </a:p>
            </p:txBody>
          </p:sp>
          <p:sp>
            <p:nvSpPr>
              <p:cNvPr id="49" name="TextBox 27">
                <a:extLst>
                  <a:ext uri="{FF2B5EF4-FFF2-40B4-BE49-F238E27FC236}">
                    <a16:creationId xmlns:a16="http://schemas.microsoft.com/office/drawing/2014/main" id="{DA989AB9-1E55-C0E1-8E1D-6999B4124098}"/>
                  </a:ext>
                </a:extLst>
              </p:cNvPr>
              <p:cNvSpPr txBox="1"/>
              <p:nvPr/>
            </p:nvSpPr>
            <p:spPr>
              <a:xfrm>
                <a:off x="9833146" y="434773"/>
                <a:ext cx="64324" cy="14254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199"/>
                  </a:lnSpc>
                  <a:spcBef>
                    <a:spcPct val="0"/>
                  </a:spcBef>
                </a:pPr>
                <a:r>
                  <a:rPr lang="en-US" sz="999" b="1" dirty="0">
                    <a:solidFill>
                      <a:srgbClr val="707070"/>
                    </a:solidFill>
                    <a:latin typeface="Plus Jakarta Sans" pitchFamily="2" charset="0"/>
                    <a:cs typeface="Plus Jakarta Sans" pitchFamily="2" charset="0"/>
                  </a:rPr>
                  <a:t>/</a:t>
                </a:r>
              </a:p>
            </p:txBody>
          </p:sp>
        </p:grpSp>
        <p:sp>
          <p:nvSpPr>
            <p:cNvPr id="44" name="TemplateLAB"/>
            <p:cNvSpPr/>
            <p:nvPr/>
          </p:nvSpPr>
          <p:spPr>
            <a:xfrm rot="16200000">
              <a:off x="10251572" y="6932809"/>
              <a:ext cx="533472" cy="88023"/>
            </a:xfrm>
            <a:custGeom>
              <a:avLst/>
              <a:gdLst/>
              <a:ahLst/>
              <a:cxnLst/>
              <a:rect l="l" t="t" r="r" b="b"/>
              <a:pathLst>
                <a:path w="533472" h="88023">
                  <a:moveTo>
                    <a:pt x="0" y="0"/>
                  </a:moveTo>
                  <a:lnTo>
                    <a:pt x="533471" y="0"/>
                  </a:lnTo>
                  <a:lnTo>
                    <a:pt x="533471" y="88023"/>
                  </a:lnTo>
                  <a:lnTo>
                    <a:pt x="0" y="8802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>
                <a:alphaModFix amt="70000"/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1093218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8</TotalTime>
  <Words>7</Words>
  <Application>Microsoft Office PowerPoint</Application>
  <PresentationFormat>Custom</PresentationFormat>
  <Paragraphs>4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Plus Jakarta Sans</vt:lpstr>
      <vt:lpstr>Calibri</vt:lpstr>
      <vt:lpstr>Arial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Graph Paper - A4 (Landscape)</dc:title>
  <dc:creator>Hoang Anh</dc:creator>
  <cp:lastModifiedBy>Hoang Anh</cp:lastModifiedBy>
  <cp:revision>19</cp:revision>
  <dcterms:created xsi:type="dcterms:W3CDTF">2006-08-16T00:00:00Z</dcterms:created>
  <dcterms:modified xsi:type="dcterms:W3CDTF">2024-05-03T14:04:40Z</dcterms:modified>
  <dc:identifier>DAGEF-RblzQ</dc:identifier>
</cp:coreProperties>
</file>